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D33AD2-A3DE-442F-9E10-F6C967B6430A}" v="73" dt="2023-03-05T14:07:43.7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9D33AD2-A3DE-442F-9E10-F6C967B6430A}"/>
    <pc:docChg chg="undo custSel addSld delSld modSld">
      <pc:chgData name="Roberto Gallardo" userId="49a044883f185952" providerId="LiveId" clId="{19D33AD2-A3DE-442F-9E10-F6C967B6430A}" dt="2023-03-05T14:07:56.427" v="595" actId="1076"/>
      <pc:docMkLst>
        <pc:docMk/>
      </pc:docMkLst>
      <pc:sldChg chg="del">
        <pc:chgData name="Roberto Gallardo" userId="49a044883f185952" providerId="LiveId" clId="{19D33AD2-A3DE-442F-9E10-F6C967B6430A}" dt="2023-02-25T14:49:47.706" v="211" actId="47"/>
        <pc:sldMkLst>
          <pc:docMk/>
          <pc:sldMk cId="1175010214" sldId="261"/>
        </pc:sldMkLst>
      </pc:sldChg>
      <pc:sldChg chg="addSp delSp modSp mod">
        <pc:chgData name="Roberto Gallardo" userId="49a044883f185952" providerId="LiveId" clId="{19D33AD2-A3DE-442F-9E10-F6C967B6430A}" dt="2023-03-05T13:59:17.195" v="246" actId="1035"/>
        <pc:sldMkLst>
          <pc:docMk/>
          <pc:sldMk cId="1418533539" sldId="271"/>
        </pc:sldMkLst>
        <pc:picChg chg="add del mod">
          <ac:chgData name="Roberto Gallardo" userId="49a044883f185952" providerId="LiveId" clId="{19D33AD2-A3DE-442F-9E10-F6C967B6430A}" dt="2023-03-05T13:29:33.889" v="212" actId="478"/>
          <ac:picMkLst>
            <pc:docMk/>
            <pc:sldMk cId="1418533539" sldId="271"/>
            <ac:picMk id="6" creationId="{31A9D48B-784A-E993-5A31-D15A4F1C4012}"/>
          </ac:picMkLst>
        </pc:picChg>
        <pc:picChg chg="add mod">
          <ac:chgData name="Roberto Gallardo" userId="49a044883f185952" providerId="LiveId" clId="{19D33AD2-A3DE-442F-9E10-F6C967B6430A}" dt="2023-03-05T13:59:17.195" v="246" actId="1035"/>
          <ac:picMkLst>
            <pc:docMk/>
            <pc:sldMk cId="1418533539" sldId="271"/>
            <ac:picMk id="6" creationId="{6729EAA3-A6B2-8686-6941-2B8F9710335E}"/>
          </ac:picMkLst>
        </pc:picChg>
      </pc:sldChg>
      <pc:sldChg chg="addSp delSp modSp mod">
        <pc:chgData name="Roberto Gallardo" userId="49a044883f185952" providerId="LiveId" clId="{19D33AD2-A3DE-442F-9E10-F6C967B6430A}" dt="2023-03-05T14:03:04.621" v="426" actId="1035"/>
        <pc:sldMkLst>
          <pc:docMk/>
          <pc:sldMk cId="2124848710" sldId="281"/>
        </pc:sldMkLst>
        <pc:picChg chg="add mod">
          <ac:chgData name="Roberto Gallardo" userId="49a044883f185952" providerId="LiveId" clId="{19D33AD2-A3DE-442F-9E10-F6C967B6430A}" dt="2023-03-05T14:03:04.621" v="426" actId="1035"/>
          <ac:picMkLst>
            <pc:docMk/>
            <pc:sldMk cId="2124848710" sldId="281"/>
            <ac:picMk id="6" creationId="{157FBADD-63D6-331C-554C-92DC4068A1D5}"/>
          </ac:picMkLst>
        </pc:picChg>
        <pc:picChg chg="add del mod">
          <ac:chgData name="Roberto Gallardo" userId="49a044883f185952" providerId="LiveId" clId="{19D33AD2-A3DE-442F-9E10-F6C967B6430A}" dt="2023-03-05T13:29:48.215" v="219" actId="478"/>
          <ac:picMkLst>
            <pc:docMk/>
            <pc:sldMk cId="2124848710" sldId="281"/>
            <ac:picMk id="6" creationId="{A0399CD2-198E-14E1-1F24-C0C114FF824F}"/>
          </ac:picMkLst>
        </pc:picChg>
      </pc:sldChg>
      <pc:sldChg chg="addSp delSp modSp add del mod">
        <pc:chgData name="Roberto Gallardo" userId="49a044883f185952" providerId="LiveId" clId="{19D33AD2-A3DE-442F-9E10-F6C967B6430A}" dt="2023-03-05T14:03:26.266" v="445" actId="1036"/>
        <pc:sldMkLst>
          <pc:docMk/>
          <pc:sldMk cId="2028175529" sldId="282"/>
        </pc:sldMkLst>
        <pc:picChg chg="add mod">
          <ac:chgData name="Roberto Gallardo" userId="49a044883f185952" providerId="LiveId" clId="{19D33AD2-A3DE-442F-9E10-F6C967B6430A}" dt="2023-03-05T14:03:26.266" v="445" actId="1036"/>
          <ac:picMkLst>
            <pc:docMk/>
            <pc:sldMk cId="2028175529" sldId="282"/>
            <ac:picMk id="7" creationId="{B0E13EB1-5A6D-1354-7B54-13CC57BCEAC1}"/>
          </ac:picMkLst>
        </pc:picChg>
        <pc:picChg chg="add del mod">
          <ac:chgData name="Roberto Gallardo" userId="49a044883f185952" providerId="LiveId" clId="{19D33AD2-A3DE-442F-9E10-F6C967B6430A}" dt="2023-03-05T13:29:53.003" v="222" actId="478"/>
          <ac:picMkLst>
            <pc:docMk/>
            <pc:sldMk cId="2028175529" sldId="282"/>
            <ac:picMk id="7" creationId="{E88E4692-B74C-E1C2-9EBD-64D54BE56BDB}"/>
          </ac:picMkLst>
        </pc:picChg>
      </pc:sldChg>
      <pc:sldChg chg="addSp delSp modSp mod">
        <pc:chgData name="Roberto Gallardo" userId="49a044883f185952" providerId="LiveId" clId="{19D33AD2-A3DE-442F-9E10-F6C967B6430A}" dt="2023-03-05T14:03:51.446" v="476" actId="1035"/>
        <pc:sldMkLst>
          <pc:docMk/>
          <pc:sldMk cId="1326517747" sldId="283"/>
        </pc:sldMkLst>
        <pc:picChg chg="add del mod">
          <ac:chgData name="Roberto Gallardo" userId="49a044883f185952" providerId="LiveId" clId="{19D33AD2-A3DE-442F-9E10-F6C967B6430A}" dt="2023-03-05T13:29:54.890" v="223" actId="478"/>
          <ac:picMkLst>
            <pc:docMk/>
            <pc:sldMk cId="1326517747" sldId="283"/>
            <ac:picMk id="7" creationId="{A3BE716F-CCB4-26EF-BCB3-16A0F853D254}"/>
          </ac:picMkLst>
        </pc:picChg>
        <pc:picChg chg="add mod">
          <ac:chgData name="Roberto Gallardo" userId="49a044883f185952" providerId="LiveId" clId="{19D33AD2-A3DE-442F-9E10-F6C967B6430A}" dt="2023-03-05T14:03:51.446" v="476" actId="1035"/>
          <ac:picMkLst>
            <pc:docMk/>
            <pc:sldMk cId="1326517747" sldId="283"/>
            <ac:picMk id="7" creationId="{D8190DA0-7331-2537-D0A7-FFBBAEA19FAE}"/>
          </ac:picMkLst>
        </pc:picChg>
      </pc:sldChg>
      <pc:sldChg chg="addSp delSp modSp mod">
        <pc:chgData name="Roberto Gallardo" userId="49a044883f185952" providerId="LiveId" clId="{19D33AD2-A3DE-442F-9E10-F6C967B6430A}" dt="2023-03-05T14:04:11.996" v="486" actId="1076"/>
        <pc:sldMkLst>
          <pc:docMk/>
          <pc:sldMk cId="783739251" sldId="284"/>
        </pc:sldMkLst>
        <pc:picChg chg="add del mod">
          <ac:chgData name="Roberto Gallardo" userId="49a044883f185952" providerId="LiveId" clId="{19D33AD2-A3DE-442F-9E10-F6C967B6430A}" dt="2023-03-05T13:29:56.837" v="224" actId="478"/>
          <ac:picMkLst>
            <pc:docMk/>
            <pc:sldMk cId="783739251" sldId="284"/>
            <ac:picMk id="7" creationId="{492ADA3E-971A-18F5-9E62-D5E77B29C773}"/>
          </ac:picMkLst>
        </pc:picChg>
        <pc:picChg chg="add mod">
          <ac:chgData name="Roberto Gallardo" userId="49a044883f185952" providerId="LiveId" clId="{19D33AD2-A3DE-442F-9E10-F6C967B6430A}" dt="2023-03-05T14:04:11.996" v="486" actId="1076"/>
          <ac:picMkLst>
            <pc:docMk/>
            <pc:sldMk cId="783739251" sldId="284"/>
            <ac:picMk id="7" creationId="{5ACC0EC5-78CC-28A9-F028-84217BE54970}"/>
          </ac:picMkLst>
        </pc:picChg>
      </pc:sldChg>
      <pc:sldChg chg="addSp delSp modSp mod">
        <pc:chgData name="Roberto Gallardo" userId="49a044883f185952" providerId="LiveId" clId="{19D33AD2-A3DE-442F-9E10-F6C967B6430A}" dt="2023-03-05T14:04:29.258" v="499" actId="1035"/>
        <pc:sldMkLst>
          <pc:docMk/>
          <pc:sldMk cId="1676122233" sldId="285"/>
        </pc:sldMkLst>
        <pc:picChg chg="add del mod">
          <ac:chgData name="Roberto Gallardo" userId="49a044883f185952" providerId="LiveId" clId="{19D33AD2-A3DE-442F-9E10-F6C967B6430A}" dt="2023-03-05T13:29:58.859" v="225" actId="478"/>
          <ac:picMkLst>
            <pc:docMk/>
            <pc:sldMk cId="1676122233" sldId="285"/>
            <ac:picMk id="7" creationId="{5A51037A-289A-E6B4-EFB4-50BD165D7A2A}"/>
          </ac:picMkLst>
        </pc:picChg>
        <pc:picChg chg="add mod">
          <ac:chgData name="Roberto Gallardo" userId="49a044883f185952" providerId="LiveId" clId="{19D33AD2-A3DE-442F-9E10-F6C967B6430A}" dt="2023-03-05T14:04:29.258" v="499" actId="1035"/>
          <ac:picMkLst>
            <pc:docMk/>
            <pc:sldMk cId="1676122233" sldId="285"/>
            <ac:picMk id="7" creationId="{86C75272-D980-7F2B-70E0-002071727A35}"/>
          </ac:picMkLst>
        </pc:picChg>
      </pc:sldChg>
      <pc:sldChg chg="addSp delSp modSp mod">
        <pc:chgData name="Roberto Gallardo" userId="49a044883f185952" providerId="LiveId" clId="{19D33AD2-A3DE-442F-9E10-F6C967B6430A}" dt="2023-03-05T14:05:06.071" v="514" actId="1036"/>
        <pc:sldMkLst>
          <pc:docMk/>
          <pc:sldMk cId="3100398757" sldId="286"/>
        </pc:sldMkLst>
        <pc:picChg chg="add del mod">
          <ac:chgData name="Roberto Gallardo" userId="49a044883f185952" providerId="LiveId" clId="{19D33AD2-A3DE-442F-9E10-F6C967B6430A}" dt="2023-03-05T13:30:00.935" v="226" actId="478"/>
          <ac:picMkLst>
            <pc:docMk/>
            <pc:sldMk cId="3100398757" sldId="286"/>
            <ac:picMk id="7" creationId="{8518E01B-100E-EB40-3197-8E56E54E013F}"/>
          </ac:picMkLst>
        </pc:picChg>
        <pc:picChg chg="add mod">
          <ac:chgData name="Roberto Gallardo" userId="49a044883f185952" providerId="LiveId" clId="{19D33AD2-A3DE-442F-9E10-F6C967B6430A}" dt="2023-03-05T14:05:06.071" v="514" actId="1036"/>
          <ac:picMkLst>
            <pc:docMk/>
            <pc:sldMk cId="3100398757" sldId="286"/>
            <ac:picMk id="7" creationId="{E9C41AFB-5F32-7D23-AEF5-369146238120}"/>
          </ac:picMkLst>
        </pc:picChg>
      </pc:sldChg>
      <pc:sldChg chg="addSp delSp modSp mod">
        <pc:chgData name="Roberto Gallardo" userId="49a044883f185952" providerId="LiveId" clId="{19D33AD2-A3DE-442F-9E10-F6C967B6430A}" dt="2023-03-05T14:05:35.011" v="532" actId="1036"/>
        <pc:sldMkLst>
          <pc:docMk/>
          <pc:sldMk cId="1546475425" sldId="287"/>
        </pc:sldMkLst>
        <pc:picChg chg="add mod">
          <ac:chgData name="Roberto Gallardo" userId="49a044883f185952" providerId="LiveId" clId="{19D33AD2-A3DE-442F-9E10-F6C967B6430A}" dt="2023-03-05T14:05:35.011" v="532" actId="1036"/>
          <ac:picMkLst>
            <pc:docMk/>
            <pc:sldMk cId="1546475425" sldId="287"/>
            <ac:picMk id="7" creationId="{3E2CF2E1-48B9-BD8B-EAA2-26825B41CA97}"/>
          </ac:picMkLst>
        </pc:picChg>
        <pc:picChg chg="add del mod">
          <ac:chgData name="Roberto Gallardo" userId="49a044883f185952" providerId="LiveId" clId="{19D33AD2-A3DE-442F-9E10-F6C967B6430A}" dt="2023-03-05T13:30:03.219" v="227" actId="478"/>
          <ac:picMkLst>
            <pc:docMk/>
            <pc:sldMk cId="1546475425" sldId="287"/>
            <ac:picMk id="7" creationId="{902836AB-8963-3536-F77E-97AED69A2F77}"/>
          </ac:picMkLst>
        </pc:picChg>
      </pc:sldChg>
      <pc:sldChg chg="addSp delSp modSp mod">
        <pc:chgData name="Roberto Gallardo" userId="49a044883f185952" providerId="LiveId" clId="{19D33AD2-A3DE-442F-9E10-F6C967B6430A}" dt="2023-03-05T14:06:08.846" v="554" actId="1035"/>
        <pc:sldMkLst>
          <pc:docMk/>
          <pc:sldMk cId="1380517306" sldId="288"/>
        </pc:sldMkLst>
        <pc:picChg chg="add del mod">
          <ac:chgData name="Roberto Gallardo" userId="49a044883f185952" providerId="LiveId" clId="{19D33AD2-A3DE-442F-9E10-F6C967B6430A}" dt="2023-03-05T13:30:06.824" v="229" actId="478"/>
          <ac:picMkLst>
            <pc:docMk/>
            <pc:sldMk cId="1380517306" sldId="288"/>
            <ac:picMk id="7" creationId="{A6B40350-0365-616C-937A-351CCDDE50E4}"/>
          </ac:picMkLst>
        </pc:picChg>
        <pc:picChg chg="add mod">
          <ac:chgData name="Roberto Gallardo" userId="49a044883f185952" providerId="LiveId" clId="{19D33AD2-A3DE-442F-9E10-F6C967B6430A}" dt="2023-03-05T14:06:08.846" v="554" actId="1035"/>
          <ac:picMkLst>
            <pc:docMk/>
            <pc:sldMk cId="1380517306" sldId="288"/>
            <ac:picMk id="7" creationId="{E75B9979-DF94-61BB-8619-64A5277B73CD}"/>
          </ac:picMkLst>
        </pc:picChg>
      </pc:sldChg>
      <pc:sldChg chg="addSp delSp modSp mod">
        <pc:chgData name="Roberto Gallardo" userId="49a044883f185952" providerId="LiveId" clId="{19D33AD2-A3DE-442F-9E10-F6C967B6430A}" dt="2023-03-05T14:06:49.751" v="564" actId="1076"/>
        <pc:sldMkLst>
          <pc:docMk/>
          <pc:sldMk cId="1388671151" sldId="289"/>
        </pc:sldMkLst>
        <pc:picChg chg="add del mod">
          <ac:chgData name="Roberto Gallardo" userId="49a044883f185952" providerId="LiveId" clId="{19D33AD2-A3DE-442F-9E10-F6C967B6430A}" dt="2023-03-05T13:30:08.282" v="230" actId="478"/>
          <ac:picMkLst>
            <pc:docMk/>
            <pc:sldMk cId="1388671151" sldId="289"/>
            <ac:picMk id="7" creationId="{B7169EE8-6FA5-E50B-5625-8B1234816A6E}"/>
          </ac:picMkLst>
        </pc:picChg>
        <pc:picChg chg="add mod">
          <ac:chgData name="Roberto Gallardo" userId="49a044883f185952" providerId="LiveId" clId="{19D33AD2-A3DE-442F-9E10-F6C967B6430A}" dt="2023-03-05T14:06:49.751" v="564" actId="1076"/>
          <ac:picMkLst>
            <pc:docMk/>
            <pc:sldMk cId="1388671151" sldId="289"/>
            <ac:picMk id="7" creationId="{FD8E6981-BFDF-C75F-7DD0-818E356DDF74}"/>
          </ac:picMkLst>
        </pc:picChg>
      </pc:sldChg>
      <pc:sldChg chg="addSp delSp modSp mod">
        <pc:chgData name="Roberto Gallardo" userId="49a044883f185952" providerId="LiveId" clId="{19D33AD2-A3DE-442F-9E10-F6C967B6430A}" dt="2023-03-05T14:07:34.153" v="585" actId="1035"/>
        <pc:sldMkLst>
          <pc:docMk/>
          <pc:sldMk cId="2355376039" sldId="290"/>
        </pc:sldMkLst>
        <pc:picChg chg="mod">
          <ac:chgData name="Roberto Gallardo" userId="49a044883f185952" providerId="LiveId" clId="{19D33AD2-A3DE-442F-9E10-F6C967B6430A}" dt="2023-02-24T20:13:49.065" v="183" actId="1076"/>
          <ac:picMkLst>
            <pc:docMk/>
            <pc:sldMk cId="2355376039" sldId="290"/>
            <ac:picMk id="5" creationId="{30F34B68-4D41-1630-1009-5494EA1F99E4}"/>
          </ac:picMkLst>
        </pc:picChg>
        <pc:picChg chg="add mod">
          <ac:chgData name="Roberto Gallardo" userId="49a044883f185952" providerId="LiveId" clId="{19D33AD2-A3DE-442F-9E10-F6C967B6430A}" dt="2023-03-05T14:07:34.153" v="585" actId="1035"/>
          <ac:picMkLst>
            <pc:docMk/>
            <pc:sldMk cId="2355376039" sldId="290"/>
            <ac:picMk id="8" creationId="{078ABDA1-77A3-E855-2DF9-F002A1E01837}"/>
          </ac:picMkLst>
        </pc:picChg>
        <pc:picChg chg="add del mod">
          <ac:chgData name="Roberto Gallardo" userId="49a044883f185952" providerId="LiveId" clId="{19D33AD2-A3DE-442F-9E10-F6C967B6430A}" dt="2023-03-05T13:30:11.685" v="232" actId="478"/>
          <ac:picMkLst>
            <pc:docMk/>
            <pc:sldMk cId="2355376039" sldId="290"/>
            <ac:picMk id="8" creationId="{343EC866-42B9-EB3A-5067-3260EF369D0D}"/>
          </ac:picMkLst>
        </pc:picChg>
      </pc:sldChg>
      <pc:sldChg chg="addSp delSp modSp mod">
        <pc:chgData name="Roberto Gallardo" userId="49a044883f185952" providerId="LiveId" clId="{19D33AD2-A3DE-442F-9E10-F6C967B6430A}" dt="2023-03-05T14:07:56.427" v="595" actId="1076"/>
        <pc:sldMkLst>
          <pc:docMk/>
          <pc:sldMk cId="3757257295" sldId="291"/>
        </pc:sldMkLst>
        <pc:picChg chg="mod">
          <ac:chgData name="Roberto Gallardo" userId="49a044883f185952" providerId="LiveId" clId="{19D33AD2-A3DE-442F-9E10-F6C967B6430A}" dt="2023-02-24T20:14:06.403" v="187" actId="1076"/>
          <ac:picMkLst>
            <pc:docMk/>
            <pc:sldMk cId="3757257295" sldId="291"/>
            <ac:picMk id="7" creationId="{E32861B1-4125-28F8-DEDF-448D6E01AA96}"/>
          </ac:picMkLst>
        </pc:picChg>
        <pc:picChg chg="add del mod">
          <ac:chgData name="Roberto Gallardo" userId="49a044883f185952" providerId="LiveId" clId="{19D33AD2-A3DE-442F-9E10-F6C967B6430A}" dt="2023-03-05T13:30:13.406" v="233" actId="478"/>
          <ac:picMkLst>
            <pc:docMk/>
            <pc:sldMk cId="3757257295" sldId="291"/>
            <ac:picMk id="8" creationId="{16FC61C1-0F32-892D-742B-795F4946709A}"/>
          </ac:picMkLst>
        </pc:picChg>
        <pc:picChg chg="add mod">
          <ac:chgData name="Roberto Gallardo" userId="49a044883f185952" providerId="LiveId" clId="{19D33AD2-A3DE-442F-9E10-F6C967B6430A}" dt="2023-03-05T14:07:56.427" v="595" actId="1076"/>
          <ac:picMkLst>
            <pc:docMk/>
            <pc:sldMk cId="3757257295" sldId="291"/>
            <ac:picMk id="8" creationId="{DF4B167C-5AB3-A15C-0C94-790752933209}"/>
          </ac:picMkLst>
        </pc:picChg>
      </pc:sldChg>
      <pc:sldChg chg="addSp delSp modSp mod">
        <pc:chgData name="Roberto Gallardo" userId="49a044883f185952" providerId="LiveId" clId="{19D33AD2-A3DE-442F-9E10-F6C967B6430A}" dt="2023-03-05T14:05:51.340" v="542" actId="1076"/>
        <pc:sldMkLst>
          <pc:docMk/>
          <pc:sldMk cId="1259856727" sldId="292"/>
        </pc:sldMkLst>
        <pc:picChg chg="add del mod">
          <ac:chgData name="Roberto Gallardo" userId="49a044883f185952" providerId="LiveId" clId="{19D33AD2-A3DE-442F-9E10-F6C967B6430A}" dt="2023-03-05T13:30:04.746" v="228" actId="478"/>
          <ac:picMkLst>
            <pc:docMk/>
            <pc:sldMk cId="1259856727" sldId="292"/>
            <ac:picMk id="7" creationId="{48E02A24-544A-ED60-373D-717B42165851}"/>
          </ac:picMkLst>
        </pc:picChg>
        <pc:picChg chg="add mod">
          <ac:chgData name="Roberto Gallardo" userId="49a044883f185952" providerId="LiveId" clId="{19D33AD2-A3DE-442F-9E10-F6C967B6430A}" dt="2023-03-05T14:05:51.340" v="542" actId="1076"/>
          <ac:picMkLst>
            <pc:docMk/>
            <pc:sldMk cId="1259856727" sldId="292"/>
            <ac:picMk id="7" creationId="{775D05A5-F0B7-CC30-F0D2-EA3D8EBBB4BC}"/>
          </ac:picMkLst>
        </pc:picChg>
      </pc:sldChg>
      <pc:sldChg chg="addSp delSp modSp mod">
        <pc:chgData name="Roberto Gallardo" userId="49a044883f185952" providerId="LiveId" clId="{19D33AD2-A3DE-442F-9E10-F6C967B6430A}" dt="2023-03-05T14:02:23.894" v="370" actId="1036"/>
        <pc:sldMkLst>
          <pc:docMk/>
          <pc:sldMk cId="3324519687" sldId="293"/>
        </pc:sldMkLst>
        <pc:picChg chg="add mod">
          <ac:chgData name="Roberto Gallardo" userId="49a044883f185952" providerId="LiveId" clId="{19D33AD2-A3DE-442F-9E10-F6C967B6430A}" dt="2023-03-05T14:02:23.894" v="370" actId="1036"/>
          <ac:picMkLst>
            <pc:docMk/>
            <pc:sldMk cId="3324519687" sldId="293"/>
            <ac:picMk id="7" creationId="{0560C90E-848E-AD6A-19F7-932A37B54911}"/>
          </ac:picMkLst>
        </pc:picChg>
        <pc:picChg chg="add del mod">
          <ac:chgData name="Roberto Gallardo" userId="49a044883f185952" providerId="LiveId" clId="{19D33AD2-A3DE-442F-9E10-F6C967B6430A}" dt="2023-03-05T13:29:46.082" v="218" actId="478"/>
          <ac:picMkLst>
            <pc:docMk/>
            <pc:sldMk cId="3324519687" sldId="293"/>
            <ac:picMk id="7" creationId="{70EA38DE-18AC-710C-806D-082289919D59}"/>
          </ac:picMkLst>
        </pc:picChg>
      </pc:sldChg>
      <pc:sldChg chg="addSp delSp modSp mod">
        <pc:chgData name="Roberto Gallardo" userId="49a044883f185952" providerId="LiveId" clId="{19D33AD2-A3DE-442F-9E10-F6C967B6430A}" dt="2023-03-05T14:02:44.921" v="398" actId="1035"/>
        <pc:sldMkLst>
          <pc:docMk/>
          <pc:sldMk cId="3256182630" sldId="295"/>
        </pc:sldMkLst>
        <pc:picChg chg="add del mod">
          <ac:chgData name="Roberto Gallardo" userId="49a044883f185952" providerId="LiveId" clId="{19D33AD2-A3DE-442F-9E10-F6C967B6430A}" dt="2023-03-05T13:29:40.303" v="215" actId="478"/>
          <ac:picMkLst>
            <pc:docMk/>
            <pc:sldMk cId="3256182630" sldId="295"/>
            <ac:picMk id="7" creationId="{4F70D9A3-BA72-DFED-6E3B-8C1E289336E5}"/>
          </ac:picMkLst>
        </pc:picChg>
        <pc:picChg chg="add mod ord">
          <ac:chgData name="Roberto Gallardo" userId="49a044883f185952" providerId="LiveId" clId="{19D33AD2-A3DE-442F-9E10-F6C967B6430A}" dt="2023-03-05T14:02:44.921" v="398" actId="1035"/>
          <ac:picMkLst>
            <pc:docMk/>
            <pc:sldMk cId="3256182630" sldId="295"/>
            <ac:picMk id="7" creationId="{A7CF5A62-322A-0D31-4DA6-FD16062BD742}"/>
          </ac:picMkLst>
        </pc:picChg>
      </pc:sldChg>
      <pc:sldChg chg="addSp delSp modSp mod">
        <pc:chgData name="Roberto Gallardo" userId="49a044883f185952" providerId="LiveId" clId="{19D33AD2-A3DE-442F-9E10-F6C967B6430A}" dt="2023-03-05T14:02:35.881" v="387" actId="1036"/>
        <pc:sldMkLst>
          <pc:docMk/>
          <pc:sldMk cId="4057156843" sldId="296"/>
        </pc:sldMkLst>
        <pc:picChg chg="add del mod">
          <ac:chgData name="Roberto Gallardo" userId="49a044883f185952" providerId="LiveId" clId="{19D33AD2-A3DE-442F-9E10-F6C967B6430A}" dt="2023-03-05T13:29:43.480" v="217" actId="478"/>
          <ac:picMkLst>
            <pc:docMk/>
            <pc:sldMk cId="4057156843" sldId="296"/>
            <ac:picMk id="7" creationId="{94FA0BB7-0714-F166-01C8-244E9D3A879D}"/>
          </ac:picMkLst>
        </pc:picChg>
        <pc:picChg chg="add mod">
          <ac:chgData name="Roberto Gallardo" userId="49a044883f185952" providerId="LiveId" clId="{19D33AD2-A3DE-442F-9E10-F6C967B6430A}" dt="2023-03-05T14:02:35.881" v="387" actId="1036"/>
          <ac:picMkLst>
            <pc:docMk/>
            <pc:sldMk cId="4057156843" sldId="296"/>
            <ac:picMk id="7" creationId="{CC49FC7E-225F-358D-B635-B6FB989C3DA8}"/>
          </ac:picMkLst>
        </pc:picChg>
      </pc:sldChg>
      <pc:sldChg chg="addSp delSp modSp mod">
        <pc:chgData name="Roberto Gallardo" userId="49a044883f185952" providerId="LiveId" clId="{19D33AD2-A3DE-442F-9E10-F6C967B6430A}" dt="2023-03-05T13:59:58.318" v="261" actId="1076"/>
        <pc:sldMkLst>
          <pc:docMk/>
          <pc:sldMk cId="2080110827" sldId="297"/>
        </pc:sldMkLst>
        <pc:picChg chg="add mod">
          <ac:chgData name="Roberto Gallardo" userId="49a044883f185952" providerId="LiveId" clId="{19D33AD2-A3DE-442F-9E10-F6C967B6430A}" dt="2023-03-05T13:59:58.318" v="261" actId="1076"/>
          <ac:picMkLst>
            <pc:docMk/>
            <pc:sldMk cId="2080110827" sldId="297"/>
            <ac:picMk id="6" creationId="{8FE68DF9-544C-E554-E18D-05A39CE2BB0D}"/>
          </ac:picMkLst>
        </pc:picChg>
        <pc:picChg chg="add del mod">
          <ac:chgData name="Roberto Gallardo" userId="49a044883f185952" providerId="LiveId" clId="{19D33AD2-A3DE-442F-9E10-F6C967B6430A}" dt="2023-03-05T13:29:36.993" v="214" actId="478"/>
          <ac:picMkLst>
            <pc:docMk/>
            <pc:sldMk cId="2080110827" sldId="297"/>
            <ac:picMk id="6" creationId="{B8A86BBE-B3EC-56C4-82D1-D6A0AD703EB5}"/>
          </ac:picMkLst>
        </pc:picChg>
      </pc:sldChg>
      <pc:sldChg chg="addSp delSp modSp mod">
        <pc:chgData name="Roberto Gallardo" userId="49a044883f185952" providerId="LiveId" clId="{19D33AD2-A3DE-442F-9E10-F6C967B6430A}" dt="2023-03-05T13:59:35.770" v="253" actId="1076"/>
        <pc:sldMkLst>
          <pc:docMk/>
          <pc:sldMk cId="1532666867" sldId="298"/>
        </pc:sldMkLst>
        <pc:picChg chg="add mod">
          <ac:chgData name="Roberto Gallardo" userId="49a044883f185952" providerId="LiveId" clId="{19D33AD2-A3DE-442F-9E10-F6C967B6430A}" dt="2023-03-05T13:59:35.770" v="253" actId="1076"/>
          <ac:picMkLst>
            <pc:docMk/>
            <pc:sldMk cId="1532666867" sldId="298"/>
            <ac:picMk id="6" creationId="{8A246669-64B3-8606-ECCE-411CF48D9EC4}"/>
          </ac:picMkLst>
        </pc:picChg>
        <pc:picChg chg="add del mod">
          <ac:chgData name="Roberto Gallardo" userId="49a044883f185952" providerId="LiveId" clId="{19D33AD2-A3DE-442F-9E10-F6C967B6430A}" dt="2023-03-05T13:29:34.960" v="213" actId="478"/>
          <ac:picMkLst>
            <pc:docMk/>
            <pc:sldMk cId="1532666867" sldId="298"/>
            <ac:picMk id="6" creationId="{9239AF10-2FDE-384D-A1D1-A3E842C0744E}"/>
          </ac:picMkLst>
        </pc:picChg>
      </pc:sldChg>
      <pc:sldChg chg="addSp delSp modSp mod">
        <pc:chgData name="Roberto Gallardo" userId="49a044883f185952" providerId="LiveId" clId="{19D33AD2-A3DE-442F-9E10-F6C967B6430A}" dt="2023-03-05T14:07:09.005" v="574" actId="1076"/>
        <pc:sldMkLst>
          <pc:docMk/>
          <pc:sldMk cId="1951376777" sldId="299"/>
        </pc:sldMkLst>
        <pc:picChg chg="mod">
          <ac:chgData name="Roberto Gallardo" userId="49a044883f185952" providerId="LiveId" clId="{19D33AD2-A3DE-442F-9E10-F6C967B6430A}" dt="2023-02-24T20:13:56.190" v="185" actId="1076"/>
          <ac:picMkLst>
            <pc:docMk/>
            <pc:sldMk cId="1951376777" sldId="299"/>
            <ac:picMk id="6" creationId="{EE2BA852-E847-6076-8AB2-8814A1080225}"/>
          </ac:picMkLst>
        </pc:picChg>
        <pc:picChg chg="add del mod">
          <ac:chgData name="Roberto Gallardo" userId="49a044883f185952" providerId="LiveId" clId="{19D33AD2-A3DE-442F-9E10-F6C967B6430A}" dt="2023-03-05T13:30:10.298" v="231" actId="478"/>
          <ac:picMkLst>
            <pc:docMk/>
            <pc:sldMk cId="1951376777" sldId="299"/>
            <ac:picMk id="7" creationId="{376FE6CD-D3C8-3987-2C2F-C57E0201638E}"/>
          </ac:picMkLst>
        </pc:picChg>
        <pc:picChg chg="add mod">
          <ac:chgData name="Roberto Gallardo" userId="49a044883f185952" providerId="LiveId" clId="{19D33AD2-A3DE-442F-9E10-F6C967B6430A}" dt="2023-03-05T14:07:09.005" v="574" actId="1076"/>
          <ac:picMkLst>
            <pc:docMk/>
            <pc:sldMk cId="1951376777" sldId="299"/>
            <ac:picMk id="7" creationId="{97C5D020-60CE-E9AD-FDA2-9769F2E2AB4A}"/>
          </ac:picMkLst>
        </pc:picChg>
      </pc:sldChg>
      <pc:sldChg chg="modSp mod">
        <pc:chgData name="Roberto Gallardo" userId="49a044883f185952" providerId="LiveId" clId="{19D33AD2-A3DE-442F-9E10-F6C967B6430A}" dt="2023-02-25T13:22:06.718" v="209" actId="20577"/>
        <pc:sldMkLst>
          <pc:docMk/>
          <pc:sldMk cId="1515423683" sldId="302"/>
        </pc:sldMkLst>
        <pc:spChg chg="mod">
          <ac:chgData name="Roberto Gallardo" userId="49a044883f185952" providerId="LiveId" clId="{19D33AD2-A3DE-442F-9E10-F6C967B6430A}" dt="2023-02-25T13:22:06.718" v="209" actId="20577"/>
          <ac:spMkLst>
            <pc:docMk/>
            <pc:sldMk cId="1515423683" sldId="302"/>
            <ac:spMk id="5" creationId="{6AE302AC-8931-4144-BE52-DD1A8BA82462}"/>
          </ac:spMkLst>
        </pc:spChg>
        <pc:spChg chg="mod">
          <ac:chgData name="Roberto Gallardo" userId="49a044883f185952" providerId="LiveId" clId="{19D33AD2-A3DE-442F-9E10-F6C967B6430A}" dt="2023-02-25T13:22:01.295" v="208" actId="20577"/>
          <ac:spMkLst>
            <pc:docMk/>
            <pc:sldMk cId="1515423683" sldId="302"/>
            <ac:spMk id="9" creationId="{E362A98F-7DCD-C67C-23CE-1BE182A133B4}"/>
          </ac:spMkLst>
        </pc:spChg>
      </pc:sldChg>
      <pc:sldChg chg="del">
        <pc:chgData name="Roberto Gallardo" userId="49a044883f185952" providerId="LiveId" clId="{19D33AD2-A3DE-442F-9E10-F6C967B6430A}" dt="2023-02-25T14:49:47.706" v="211" actId="47"/>
        <pc:sldMkLst>
          <pc:docMk/>
          <pc:sldMk cId="2841628872" sldId="303"/>
        </pc:sldMkLst>
      </pc:sldChg>
      <pc:sldChg chg="del">
        <pc:chgData name="Roberto Gallardo" userId="49a044883f185952" providerId="LiveId" clId="{19D33AD2-A3DE-442F-9E10-F6C967B6430A}" dt="2023-02-25T14:49:47.706" v="211" actId="47"/>
        <pc:sldMkLst>
          <pc:docMk/>
          <pc:sldMk cId="3084076302" sldId="304"/>
        </pc:sldMkLst>
      </pc:sldChg>
      <pc:sldChg chg="del">
        <pc:chgData name="Roberto Gallardo" userId="49a044883f185952" providerId="LiveId" clId="{19D33AD2-A3DE-442F-9E10-F6C967B6430A}" dt="2023-02-25T14:49:47.706" v="211" actId="47"/>
        <pc:sldMkLst>
          <pc:docMk/>
          <pc:sldMk cId="473712435" sldId="305"/>
        </pc:sldMkLst>
      </pc:sldChg>
      <pc:sldChg chg="add">
        <pc:chgData name="Roberto Gallardo" userId="49a044883f185952" providerId="LiveId" clId="{19D33AD2-A3DE-442F-9E10-F6C967B6430A}" dt="2023-02-25T14:49:44.478" v="210"/>
        <pc:sldMkLst>
          <pc:docMk/>
          <pc:sldMk cId="2977927016" sldId="307"/>
        </pc:sldMkLst>
      </pc:sldChg>
      <pc:sldChg chg="add">
        <pc:chgData name="Roberto Gallardo" userId="49a044883f185952" providerId="LiveId" clId="{19D33AD2-A3DE-442F-9E10-F6C967B6430A}" dt="2023-02-25T14:49:44.478" v="210"/>
        <pc:sldMkLst>
          <pc:docMk/>
          <pc:sldMk cId="1773298271" sldId="308"/>
        </pc:sldMkLst>
      </pc:sldChg>
      <pc:sldChg chg="add">
        <pc:chgData name="Roberto Gallardo" userId="49a044883f185952" providerId="LiveId" clId="{19D33AD2-A3DE-442F-9E10-F6C967B6430A}" dt="2023-02-25T14:49:44.478" v="210"/>
        <pc:sldMkLst>
          <pc:docMk/>
          <pc:sldMk cId="2805059739" sldId="309"/>
        </pc:sldMkLst>
      </pc:sldChg>
      <pc:sldChg chg="add">
        <pc:chgData name="Roberto Gallardo" userId="49a044883f185952" providerId="LiveId" clId="{19D33AD2-A3DE-442F-9E10-F6C967B6430A}" dt="2023-02-25T14:49:44.478" v="210"/>
        <pc:sldMkLst>
          <pc:docMk/>
          <pc:sldMk cId="206715538"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Gast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1514429-D9A4-5426-742B-9A5DF443BBF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805059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28DC124D-6CCB-A791-354B-52836C3E89F3}"/>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06715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6729EAA3-A6B2-8686-6941-2B8F971033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710" y="1040679"/>
            <a:ext cx="7612380" cy="5383149"/>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 diagram&#10;&#10;Description automatically generated">
            <a:extLst>
              <a:ext uri="{FF2B5EF4-FFF2-40B4-BE49-F238E27FC236}">
                <a16:creationId xmlns:a16="http://schemas.microsoft.com/office/drawing/2014/main" id="{8A246669-64B3-8606-ECCE-411CF48D9E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2544" y="1028700"/>
            <a:ext cx="7590712" cy="536782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FE68DF9-544C-E554-E18D-05A39CE2BB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8210" y="1026845"/>
            <a:ext cx="7599379" cy="537395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ap&#10;&#10;Description automatically generated">
            <a:extLst>
              <a:ext uri="{FF2B5EF4-FFF2-40B4-BE49-F238E27FC236}">
                <a16:creationId xmlns:a16="http://schemas.microsoft.com/office/drawing/2014/main" id="{A7CF5A62-322A-0D31-4DA6-FD16062BD7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6900" y="1428923"/>
            <a:ext cx="6365875" cy="4501674"/>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A9A18ED-FD81-3991-0941-201B1C281483}"/>
              </a:ext>
            </a:extLst>
          </p:cNvPr>
          <p:cNvPicPr preferRelativeResize="0"/>
          <p:nvPr/>
        </p:nvPicPr>
        <p:blipFill>
          <a:blip r:embed="rId3"/>
          <a:stretch>
            <a:fillRect/>
          </a:stretch>
        </p:blipFill>
        <p:spPr>
          <a:xfrm>
            <a:off x="149225" y="1763713"/>
            <a:ext cx="5337175" cy="382905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2999F17-B201-CD84-C4FB-10E08257B175}"/>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a:extLst>
              <a:ext uri="{FF2B5EF4-FFF2-40B4-BE49-F238E27FC236}">
                <a16:creationId xmlns:a16="http://schemas.microsoft.com/office/drawing/2014/main" id="{CC49FC7E-225F-358D-B635-B6FB989C3D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6754" y="1434438"/>
            <a:ext cx="6352846" cy="449246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D310B82-3634-AC19-C7F0-98ECBA949415}"/>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0560C90E-848E-AD6A-19F7-932A37B549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437"/>
            <a:ext cx="6362699"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36DCF90-2353-BE5C-8123-BD6E6A60E903}"/>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157FBADD-63D6-331C-554C-92DC4068A1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685"/>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D38BA195-83A4-1D9B-11AB-1744574093F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0E13EB1-5A6D-1354-7B54-13CC57BCE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7470"/>
            <a:ext cx="6362699" cy="4499428"/>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EC3369C-736E-6BD3-A98F-94B7F92C576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8190DA0-7331-2537-D0A7-FFBBAEA19F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691"/>
            <a:ext cx="6362700" cy="449942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4A5F1859-D740-4FD2-5ADB-38D0BB91BF4D}"/>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5ACC0EC5-78CC-28A9-F028-84217BE549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9388"/>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9936F352-C60B-6AD5-74A9-6211C5174E7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86C75272-D980-7F2B-70E0-002071727A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8649"/>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B0B7DE06-8FD4-482E-DA35-EE5BA55C07C7}"/>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9C41AFB-5F32-7D23-AEF5-3691462381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991" y="1412354"/>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3A2677E-2A60-A356-6C62-DA07D6BC4354}"/>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E2CF2E1-48B9-BD8B-EAA2-26825B41CA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921"/>
            <a:ext cx="6408127" cy="453155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C10A8371-D471-D858-1C73-D10F823222B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75D05A5-F0B7-CC30-F0D2-EA3D8EBBB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5607"/>
            <a:ext cx="6404096" cy="452870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D6B006C7-B0A1-A692-BDEB-1FB1E13B73A9}"/>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75B9979-DF94-61BB-8619-64A5277B73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51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1CDE795-C04B-3995-6DE4-9740077CC34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D8E6981-BFDF-C75F-7DD0-818E356DDF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EE2BA852-E847-6076-8AB2-8814A1080225}"/>
              </a:ext>
            </a:extLst>
          </p:cNvPr>
          <p:cNvPicPr preferRelativeResize="0"/>
          <p:nvPr/>
        </p:nvPicPr>
        <p:blipFill>
          <a:blip r:embed="rId2"/>
          <a:stretch>
            <a:fillRect/>
          </a:stretch>
        </p:blipFill>
        <p:spPr>
          <a:xfrm>
            <a:off x="152400" y="1728786"/>
            <a:ext cx="5447181" cy="3895725"/>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with medium confidence">
            <a:extLst>
              <a:ext uri="{FF2B5EF4-FFF2-40B4-BE49-F238E27FC236}">
                <a16:creationId xmlns:a16="http://schemas.microsoft.com/office/drawing/2014/main" id="{97C5D020-60CE-E9AD-FDA2-9769F2E2AB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2"/>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30F34B68-4D41-1630-1009-5494EA1F99E4}"/>
              </a:ext>
            </a:extLst>
          </p:cNvPr>
          <p:cNvPicPr preferRelativeResize="0"/>
          <p:nvPr/>
        </p:nvPicPr>
        <p:blipFill>
          <a:blip r:embed="rId2"/>
          <a:stretch>
            <a:fillRect/>
          </a:stretch>
        </p:blipFill>
        <p:spPr>
          <a:xfrm>
            <a:off x="152400" y="1743197"/>
            <a:ext cx="5443941" cy="3899316"/>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078ABDA1-77A3-E855-2DF9-F002A1E01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846"/>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24B0923-3B85-96DC-BA05-C8741CCE11C8}"/>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E32861B1-4125-28F8-DEDF-448D6E01AA96}"/>
              </a:ext>
            </a:extLst>
          </p:cNvPr>
          <p:cNvPicPr preferRelativeResize="0"/>
          <p:nvPr/>
        </p:nvPicPr>
        <p:blipFill>
          <a:blip r:embed="rId2"/>
          <a:stretch>
            <a:fillRect/>
          </a:stretch>
        </p:blipFill>
        <p:spPr>
          <a:xfrm>
            <a:off x="152400" y="1731064"/>
            <a:ext cx="5449725" cy="3903459"/>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with medium confidence">
            <a:extLst>
              <a:ext uri="{FF2B5EF4-FFF2-40B4-BE49-F238E27FC236}">
                <a16:creationId xmlns:a16="http://schemas.microsoft.com/office/drawing/2014/main" id="{DF4B167C-5AB3-A15C-0C94-7907529332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607"/>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8962302-B746-3338-5788-D40ACD02B8F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EB24F83-A87A-F9D2-D319-C89D55A595D9}"/>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9A3309-D5F8-DB89-34B1-086F0155A95D}"/>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7315" y="2422826"/>
            <a:ext cx="1198148" cy="2195463"/>
            <a:chOff x="10466695" y="2781387"/>
            <a:chExt cx="1198148" cy="2195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35127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9768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7813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2781387"/>
              <a:ext cx="0" cy="731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65769" y="4395761"/>
              <a:ext cx="0" cy="5715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896C503-C39B-F152-AB1D-5AFCFC1A02C1}"/>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BDDB0E6-2AF9-8DAC-8CE8-B712FE133344}"/>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6BD03F7-D56C-409C-06E4-C660348FB2B7}"/>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06E1DB2E-B2C0-CB8C-8C3F-563CCCDCD0B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1F0CF066-81EF-7E5A-8B6E-554978859E8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E307E537-4B70-8B28-8E4F-D7AF12C8415D}"/>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C9977B33-3E5F-0C47-8226-FEA4339B0B8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977927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33A01A6-4C27-4B0F-DA26-36B1038A5ED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773298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57</cp:revision>
  <dcterms:created xsi:type="dcterms:W3CDTF">2022-07-04T13:32:28Z</dcterms:created>
  <dcterms:modified xsi:type="dcterms:W3CDTF">2023-03-05T14:08:04Z</dcterms:modified>
</cp:coreProperties>
</file>